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PAR-EPS)" userId="fd3b2067-2981-4ad8-bf3a-d2e1004e4fa8" providerId="ADAL" clId="{5457B722-58F4-4714-9FE2-45ED53C80D84}"/>
    <pc:docChg chg="modSld">
      <pc:chgData name="Weigel Stefan (PAR-EPS)" userId="fd3b2067-2981-4ad8-bf3a-d2e1004e4fa8" providerId="ADAL" clId="{5457B722-58F4-4714-9FE2-45ED53C80D84}" dt="2024-02-28T14:12:38.375" v="29" actId="1036"/>
      <pc:docMkLst>
        <pc:docMk/>
      </pc:docMkLst>
      <pc:sldChg chg="modSp mod">
        <pc:chgData name="Weigel Stefan (PAR-EPS)" userId="fd3b2067-2981-4ad8-bf3a-d2e1004e4fa8" providerId="ADAL" clId="{5457B722-58F4-4714-9FE2-45ED53C80D84}" dt="2024-02-28T14:12:38.375" v="29" actId="1036"/>
        <pc:sldMkLst>
          <pc:docMk/>
          <pc:sldMk cId="204404663" sldId="275"/>
        </pc:sldMkLst>
        <pc:spChg chg="mod">
          <ac:chgData name="Weigel Stefan (PAR-EPS)" userId="fd3b2067-2981-4ad8-bf3a-d2e1004e4fa8" providerId="ADAL" clId="{5457B722-58F4-4714-9FE2-45ED53C80D84}" dt="2024-02-28T14:10:58.979" v="0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5457B722-58F4-4714-9FE2-45ED53C80D84}" dt="2024-02-28T14:12:38.375" v="29" actId="1036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5457B722-58F4-4714-9FE2-45ED53C80D84}" dt="2024-02-28T14:11:13.672" v="1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5457B722-58F4-4714-9FE2-45ED53C80D84}" dt="2024-02-28T14:12:30.448" v="15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A6429BC-A70E-480A-8C88-4BD6673B8B72}"/>
    <pc:docChg chg="modSld">
      <pc:chgData name="Meyer Raphael (PAR-ES)" userId="79615dfe-ed48-4e74-a40f-4f7b034c1c27" providerId="ADAL" clId="{5A6429BC-A70E-480A-8C88-4BD6673B8B72}" dt="2022-02-22T09:46:18.173" v="96" actId="20577"/>
      <pc:docMkLst>
        <pc:docMk/>
      </pc:docMkLst>
      <pc:sldChg chg="modSp mod">
        <pc:chgData name="Meyer Raphael (PAR-ES)" userId="79615dfe-ed48-4e74-a40f-4f7b034c1c27" providerId="ADAL" clId="{5A6429BC-A70E-480A-8C88-4BD6673B8B72}" dt="2022-02-22T09:46:18.173" v="96" actId="20577"/>
        <pc:sldMkLst>
          <pc:docMk/>
          <pc:sldMk cId="204404663" sldId="275"/>
        </pc:sldMkLst>
        <pc:spChg chg="mod">
          <ac:chgData name="Meyer Raphael (PAR-ES)" userId="79615dfe-ed48-4e74-a40f-4f7b034c1c27" providerId="ADAL" clId="{5A6429BC-A70E-480A-8C88-4BD6673B8B72}" dt="2022-02-22T09:46:18.173" v="96" actId="20577"/>
          <ac:spMkLst>
            <pc:docMk/>
            <pc:sldMk cId="204404663" sldId="27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5A6429BC-A70E-480A-8C88-4BD6673B8B72}" dt="2022-02-22T09:43:51.367" v="86" actId="14100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Meyer Raphael (PAR-ES)" userId="79615dfe-ed48-4e74-a40f-4f7b034c1c27" providerId="ADAL" clId="{5A6429BC-A70E-480A-8C88-4BD6673B8B72}" dt="2022-02-22T09:44:07.749" v="87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F0CE1A0A-1695-414E-B94D-F84871DC85B9}"/>
    <pc:docChg chg="modSld">
      <pc:chgData name="Weigel Stefan (PAR-ES)" userId="fd3b2067-2981-4ad8-bf3a-d2e1004e4fa8" providerId="ADAL" clId="{F0CE1A0A-1695-414E-B94D-F84871DC85B9}" dt="2023-04-28T14:20:51.600" v="8" actId="27918"/>
      <pc:docMkLst>
        <pc:docMk/>
      </pc:docMkLst>
      <pc:sldChg chg="mod">
        <pc:chgData name="Weigel Stefan (PAR-ES)" userId="fd3b2067-2981-4ad8-bf3a-d2e1004e4fa8" providerId="ADAL" clId="{F0CE1A0A-1695-414E-B94D-F84871DC85B9}" dt="2023-04-28T14:20:51.600" v="8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1DE344A4-4DE7-4734-BCBA-B4D44D1431BA}"/>
    <pc:docChg chg="modSld">
      <pc:chgData name="Meyer Raphael (PAR-ES)" userId="79615dfe-ed48-4e74-a40f-4f7b034c1c27" providerId="ADAL" clId="{1DE344A4-4DE7-4734-BCBA-B4D44D1431BA}" dt="2023-02-22T13:56:41.959" v="5" actId="27918"/>
      <pc:docMkLst>
        <pc:docMk/>
      </pc:docMkLst>
      <pc:sldChg chg="mod">
        <pc:chgData name="Meyer Raphael (PAR-ES)" userId="79615dfe-ed48-4e74-a40f-4f7b034c1c27" providerId="ADAL" clId="{1DE344A4-4DE7-4734-BCBA-B4D44D1431BA}" dt="2023-02-22T13:56:41.959" v="5" actId="27918"/>
        <pc:sldMkLst>
          <pc:docMk/>
          <pc:sldMk cId="204404663" sldId="275"/>
        </pc:sldMkLst>
      </pc:sldChg>
    </pc:docChg>
  </pc:docChgLst>
  <pc:docChgLst>
    <pc:chgData name="Weigel Stefan (PAR-ES)" userId="fd3b2067-2981-4ad8-bf3a-d2e1004e4fa8" providerId="ADAL" clId="{AA52FEA2-8102-4A8F-BADE-388B6DC6E6E4}"/>
    <pc:docChg chg="modSld">
      <pc:chgData name="Weigel Stefan (PAR-ES)" userId="fd3b2067-2981-4ad8-bf3a-d2e1004e4fa8" providerId="ADAL" clId="{AA52FEA2-8102-4A8F-BADE-388B6DC6E6E4}" dt="2022-04-28T16:55:22.577" v="59" actId="27918"/>
      <pc:docMkLst>
        <pc:docMk/>
      </pc:docMkLst>
      <pc:sldChg chg="mod">
        <pc:chgData name="Weigel Stefan (PAR-ES)" userId="fd3b2067-2981-4ad8-bf3a-d2e1004e4fa8" providerId="ADAL" clId="{AA52FEA2-8102-4A8F-BADE-388B6DC6E6E4}" dt="2022-04-28T16:50:27.034" v="12" actId="27918"/>
        <pc:sldMkLst>
          <pc:docMk/>
          <pc:sldMk cId="204404663" sldId="275"/>
        </pc:sldMkLst>
      </pc:sldChg>
      <pc:sldChg chg="mod">
        <pc:chgData name="Weigel Stefan (PAR-ES)" userId="fd3b2067-2981-4ad8-bf3a-d2e1004e4fa8" providerId="ADAL" clId="{AA52FEA2-8102-4A8F-BADE-388B6DC6E6E4}" dt="2022-04-28T16:51:45.535" v="27" actId="27918"/>
        <pc:sldMkLst>
          <pc:docMk/>
          <pc:sldMk cId="2347588559" sldId="276"/>
        </pc:sldMkLst>
      </pc:sldChg>
      <pc:sldChg chg="mod">
        <pc:chgData name="Weigel Stefan (PAR-ES)" userId="fd3b2067-2981-4ad8-bf3a-d2e1004e4fa8" providerId="ADAL" clId="{AA52FEA2-8102-4A8F-BADE-388B6DC6E6E4}" dt="2022-04-28T16:54:20.751" v="42" actId="27918"/>
        <pc:sldMkLst>
          <pc:docMk/>
          <pc:sldMk cId="1322850106" sldId="277"/>
        </pc:sldMkLst>
      </pc:sldChg>
      <pc:sldChg chg="mod">
        <pc:chgData name="Weigel Stefan (PAR-ES)" userId="fd3b2067-2981-4ad8-bf3a-d2e1004e4fa8" providerId="ADAL" clId="{AA52FEA2-8102-4A8F-BADE-388B6DC6E6E4}" dt="2022-04-28T16:55:22.577" v="59" actId="27918"/>
        <pc:sldMkLst>
          <pc:docMk/>
          <pc:sldMk cId="4000799038" sldId="278"/>
        </pc:sldMkLst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Weigel Stefan (PAR-EPS)" userId="fd3b2067-2981-4ad8-bf3a-d2e1004e4fa8" providerId="ADAL" clId="{98DA33D0-7B59-4DCE-A599-58F26EAA669E}"/>
    <pc:docChg chg="modSld">
      <pc:chgData name="Weigel Stefan (PAR-EPS)" userId="fd3b2067-2981-4ad8-bf3a-d2e1004e4fa8" providerId="ADAL" clId="{98DA33D0-7B59-4DCE-A599-58F26EAA669E}" dt="2024-02-28T14:09:34.019" v="68"/>
      <pc:docMkLst>
        <pc:docMk/>
      </pc:docMkLst>
      <pc:sldChg chg="modSp mod">
        <pc:chgData name="Weigel Stefan (PAR-EPS)" userId="fd3b2067-2981-4ad8-bf3a-d2e1004e4fa8" providerId="ADAL" clId="{98DA33D0-7B59-4DCE-A599-58F26EAA669E}" dt="2024-02-28T14:09:34.019" v="68"/>
        <pc:sldMkLst>
          <pc:docMk/>
          <pc:sldMk cId="204404663" sldId="275"/>
        </pc:sldMkLst>
        <pc:spChg chg="mod">
          <ac:chgData name="Weigel Stefan (PAR-EPS)" userId="fd3b2067-2981-4ad8-bf3a-d2e1004e4fa8" providerId="ADAL" clId="{98DA33D0-7B59-4DCE-A599-58F26EAA669E}" dt="2024-02-28T14:09:15.285" v="64" actId="1036"/>
          <ac:spMkLst>
            <pc:docMk/>
            <pc:sldMk cId="204404663" sldId="275"/>
            <ac:spMk id="10" creationId="{A3DB4B5C-8AF8-4D76-8E11-2708D9423565}"/>
          </ac:spMkLst>
        </pc:spChg>
        <pc:spChg chg="mod">
          <ac:chgData name="Weigel Stefan (PAR-EPS)" userId="fd3b2067-2981-4ad8-bf3a-d2e1004e4fa8" providerId="ADAL" clId="{98DA33D0-7B59-4DCE-A599-58F26EAA669E}" dt="2024-02-28T14:09:22.252" v="66" actId="1036"/>
          <ac:spMkLst>
            <pc:docMk/>
            <pc:sldMk cId="204404663" sldId="275"/>
            <ac:spMk id="12" creationId="{C8AB3786-D9DD-4308-864B-E8A3E60658EB}"/>
          </ac:spMkLst>
        </pc:spChg>
        <pc:graphicFrameChg chg="mod">
          <ac:chgData name="Weigel Stefan (PAR-EPS)" userId="fd3b2067-2981-4ad8-bf3a-d2e1004e4fa8" providerId="ADAL" clId="{98DA33D0-7B59-4DCE-A599-58F26EAA669E}" dt="2024-02-28T14:09:34.019" v="68"/>
          <ac:graphicFrameMkLst>
            <pc:docMk/>
            <pc:sldMk cId="204404663" sldId="27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9BD42E85-4A4E-42AB-8096-1F9005665612}"/>
    <pc:docChg chg="delSld">
      <pc:chgData name="Meyer Raphael (PAR-ES)" userId="79615dfe-ed48-4e74-a40f-4f7b034c1c27" providerId="ADAL" clId="{9BD42E85-4A4E-42AB-8096-1F9005665612}" dt="2022-02-21T16:44:39.350" v="0" actId="47"/>
      <pc:docMkLst>
        <pc:docMk/>
      </pc:docMkLst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9BD42E85-4A4E-42AB-8096-1F9005665612}" dt="2022-02-21T16:44:39.35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2173D55D-59B2-4020-A2E1-7633AD7CE06E}"/>
    <pc:docChg chg="delSld">
      <pc:chgData name="Meyer Raphael (PAR-ES)" userId="79615dfe-ed48-4e74-a40f-4f7b034c1c27" providerId="ADAL" clId="{2173D55D-59B2-4020-A2E1-7633AD7CE06E}" dt="2023-04-28T08:42:25.835" v="0" actId="47"/>
      <pc:docMkLst>
        <pc:docMk/>
      </pc:docMkLst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2347588559" sldId="276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1322850106" sldId="277"/>
        </pc:sldMkLst>
      </pc:sldChg>
      <pc:sldChg chg="del">
        <pc:chgData name="Meyer Raphael (PAR-ES)" userId="79615dfe-ed48-4e74-a40f-4f7b034c1c27" providerId="ADAL" clId="{2173D55D-59B2-4020-A2E1-7633AD7CE06E}" dt="2023-04-28T08:42:25.835" v="0" actId="47"/>
        <pc:sldMkLst>
          <pc:docMk/>
          <pc:sldMk cId="4000799038" sldId="278"/>
        </pc:sldMkLst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03465442-35A7-4C6D-9CEC-66BB857E13D0}"/>
    <pc:docChg chg="modSld">
      <pc:chgData name="Weigel Stefan (PAR-ES)" userId="fd3b2067-2981-4ad8-bf3a-d2e1004e4fa8" providerId="ADAL" clId="{03465442-35A7-4C6D-9CEC-66BB857E13D0}" dt="2022-02-22T14:04:58.857" v="5" actId="27918"/>
      <pc:docMkLst>
        <pc:docMk/>
      </pc:docMkLst>
      <pc:sldChg chg="mod">
        <pc:chgData name="Weigel Stefan (PAR-ES)" userId="fd3b2067-2981-4ad8-bf3a-d2e1004e4fa8" providerId="ADAL" clId="{03465442-35A7-4C6D-9CEC-66BB857E13D0}" dt="2022-02-22T14:04:58.857" v="5" actId="27918"/>
        <pc:sldMkLst>
          <pc:docMk/>
          <pc:sldMk cId="204404663" sldId="275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AA0E4A3-1D7C-44C7-9275-BC748E09C82E}"/>
    <pc:docChg chg="custSel addSld modSld">
      <pc:chgData name="Meyer Raphael (PAR-ES)" userId="79615dfe-ed48-4e74-a40f-4f7b034c1c27" providerId="ADAL" clId="{EAA0E4A3-1D7C-44C7-9275-BC748E09C82E}" dt="2022-03-10T10:45:54.706" v="53" actId="27918"/>
      <pc:docMkLst>
        <pc:docMk/>
      </pc:docMkLst>
      <pc:sldChg chg="modSp add mod">
        <pc:chgData name="Meyer Raphael (PAR-ES)" userId="79615dfe-ed48-4e74-a40f-4f7b034c1c27" providerId="ADAL" clId="{EAA0E4A3-1D7C-44C7-9275-BC748E09C82E}" dt="2022-03-10T10:45:54.706" v="53" actId="27918"/>
        <pc:sldMkLst>
          <pc:docMk/>
          <pc:sldMk cId="2347588559" sldId="276"/>
        </pc:sldMkLst>
        <pc:spChg chg="mod">
          <ac:chgData name="Meyer Raphael (PAR-ES)" userId="79615dfe-ed48-4e74-a40f-4f7b034c1c27" providerId="ADAL" clId="{EAA0E4A3-1D7C-44C7-9275-BC748E09C82E}" dt="2022-03-10T10:40:04.627" v="8"/>
          <ac:spMkLst>
            <pc:docMk/>
            <pc:sldMk cId="2347588559" sldId="27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05.793" v="11"/>
          <ac:spMkLst>
            <pc:docMk/>
            <pc:sldMk cId="2347588559" sldId="276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29.535" v="49" actId="27918"/>
        <pc:sldMkLst>
          <pc:docMk/>
          <pc:sldMk cId="1322850106" sldId="277"/>
        </pc:sldMkLst>
        <pc:spChg chg="mod">
          <ac:chgData name="Meyer Raphael (PAR-ES)" userId="79615dfe-ed48-4e74-a40f-4f7b034c1c27" providerId="ADAL" clId="{EAA0E4A3-1D7C-44C7-9275-BC748E09C82E}" dt="2022-03-10T10:40:25.333" v="9"/>
          <ac:spMkLst>
            <pc:docMk/>
            <pc:sldMk cId="1322850106" sldId="27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4.592" v="21" actId="20577"/>
          <ac:spMkLst>
            <pc:docMk/>
            <pc:sldMk cId="1322850106" sldId="277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19.958" v="13" actId="14100"/>
          <ac:spMkLst>
            <pc:docMk/>
            <pc:sldMk cId="1322850106" sldId="277"/>
            <ac:spMk id="12" creationId="{C8AB3786-D9DD-4308-864B-E8A3E60658EB}"/>
          </ac:spMkLst>
        </pc:spChg>
      </pc:sldChg>
      <pc:sldChg chg="modSp add mod">
        <pc:chgData name="Meyer Raphael (PAR-ES)" userId="79615dfe-ed48-4e74-a40f-4f7b034c1c27" providerId="ADAL" clId="{EAA0E4A3-1D7C-44C7-9275-BC748E09C82E}" dt="2022-03-10T10:45:08.731" v="46" actId="27918"/>
        <pc:sldMkLst>
          <pc:docMk/>
          <pc:sldMk cId="4000799038" sldId="278"/>
        </pc:sldMkLst>
        <pc:spChg chg="mod">
          <ac:chgData name="Meyer Raphael (PAR-ES)" userId="79615dfe-ed48-4e74-a40f-4f7b034c1c27" providerId="ADAL" clId="{EAA0E4A3-1D7C-44C7-9275-BC748E09C82E}" dt="2022-03-10T10:40:34.308" v="10"/>
          <ac:spMkLst>
            <pc:docMk/>
            <pc:sldMk cId="4000799038" sldId="27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EAA0E4A3-1D7C-44C7-9275-BC748E09C82E}" dt="2022-03-10T10:41:49.073" v="27" actId="20577"/>
          <ac:spMkLst>
            <pc:docMk/>
            <pc:sldMk cId="4000799038" sldId="278"/>
            <ac:spMk id="10" creationId="{A3DB4B5C-8AF8-4D76-8E11-2708D9423565}"/>
          </ac:spMkLst>
        </pc:spChg>
        <pc:spChg chg="mod">
          <ac:chgData name="Meyer Raphael (PAR-ES)" userId="79615dfe-ed48-4e74-a40f-4f7b034c1c27" providerId="ADAL" clId="{EAA0E4A3-1D7C-44C7-9275-BC748E09C82E}" dt="2022-03-10T10:41:31.786" v="15" actId="14100"/>
          <ac:spMkLst>
            <pc:docMk/>
            <pc:sldMk cId="4000799038" sldId="278"/>
            <ac:spMk id="12" creationId="{C8AB3786-D9DD-4308-864B-E8A3E60658EB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950261382616431E-2"/>
          <c:y val="9.0509769134196866E-2"/>
          <c:w val="0.8716698119346652"/>
          <c:h val="0.70868885363965084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data!$D$8</c:f>
              <c:strCache>
                <c:ptCount val="1"/>
                <c:pt idx="0">
                  <c:v>SBB infrastructure</c:v>
                </c:pt>
              </c:strCache>
            </c:strRef>
          </c:tx>
          <c:spPr>
            <a:solidFill>
              <a:srgbClr val="B7B7B7"/>
            </a:solidFill>
          </c:spPr>
          <c:invertIfNegative val="0"/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D$10:$D$26</c:f>
              <c:numCache>
                <c:formatCode>#,##0</c:formatCode>
                <c:ptCount val="17"/>
                <c:pt idx="0">
                  <c:v>2032.4478369999999</c:v>
                </c:pt>
                <c:pt idx="1">
                  <c:v>2114</c:v>
                </c:pt>
                <c:pt idx="2">
                  <c:v>2088.5749810000002</c:v>
                </c:pt>
                <c:pt idx="3">
                  <c:v>2128.2936650000001</c:v>
                </c:pt>
                <c:pt idx="4">
                  <c:v>2082.1999999999998</c:v>
                </c:pt>
                <c:pt idx="5">
                  <c:v>2111.3942470000002</c:v>
                </c:pt>
                <c:pt idx="6">
                  <c:v>2147.994831</c:v>
                </c:pt>
                <c:pt idx="7">
                  <c:v>2088.83</c:v>
                </c:pt>
                <c:pt idx="8">
                  <c:v>2097.6860000000001</c:v>
                </c:pt>
                <c:pt idx="9">
                  <c:v>2142.5936740000002</c:v>
                </c:pt>
                <c:pt idx="10">
                  <c:v>2067.431693</c:v>
                </c:pt>
                <c:pt idx="11">
                  <c:v>2033</c:v>
                </c:pt>
                <c:pt idx="12">
                  <c:v>2013</c:v>
                </c:pt>
                <c:pt idx="13">
                  <c:v>1890</c:v>
                </c:pt>
                <c:pt idx="14">
                  <c:v>2002.1310000000001</c:v>
                </c:pt>
                <c:pt idx="15">
                  <c:v>2048.1</c:v>
                </c:pt>
                <c:pt idx="16">
                  <c:v>2027.1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832-475B-9895-C8153D632F4B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other infrastructures</c:v>
                </c:pt>
              </c:strCache>
            </c:strRef>
          </c:tx>
          <c:spPr>
            <a:solidFill>
              <a:srgbClr val="767676"/>
            </a:solidFill>
          </c:spPr>
          <c:invertIfNegative val="0"/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E$10:$E$26</c:f>
              <c:numCache>
                <c:formatCode>#,##0</c:formatCode>
                <c:ptCount val="17"/>
                <c:pt idx="0">
                  <c:v>298.90285400000016</c:v>
                </c:pt>
                <c:pt idx="1">
                  <c:v>303</c:v>
                </c:pt>
                <c:pt idx="2">
                  <c:v>302.17247499999985</c:v>
                </c:pt>
                <c:pt idx="3">
                  <c:v>299.80456299999969</c:v>
                </c:pt>
                <c:pt idx="4">
                  <c:v>298.90000000000009</c:v>
                </c:pt>
                <c:pt idx="5">
                  <c:v>298.41561400000001</c:v>
                </c:pt>
                <c:pt idx="6">
                  <c:v>293.65079300000025</c:v>
                </c:pt>
                <c:pt idx="7">
                  <c:v>291.939257</c:v>
                </c:pt>
                <c:pt idx="8">
                  <c:v>313.54700000000003</c:v>
                </c:pt>
                <c:pt idx="9">
                  <c:v>315.29860999999983</c:v>
                </c:pt>
                <c:pt idx="10">
                  <c:v>321.77498900000001</c:v>
                </c:pt>
                <c:pt idx="11">
                  <c:v>306.40000000000009</c:v>
                </c:pt>
                <c:pt idx="12">
                  <c:v>299.5</c:v>
                </c:pt>
                <c:pt idx="13">
                  <c:v>267.40000000000009</c:v>
                </c:pt>
                <c:pt idx="14">
                  <c:v>273.34500000000003</c:v>
                </c:pt>
                <c:pt idx="15">
                  <c:v>264.26099999999997</c:v>
                </c:pt>
                <c:pt idx="16">
                  <c:v>271.904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37267456"/>
        <c:axId val="16495449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data!$C$8</c15:sqref>
                        </c15:formulaRef>
                      </c:ext>
                    </c:extLst>
                    <c:strCache>
                      <c:ptCount val="1"/>
                      <c:pt idx="0">
                        <c:v>Electricity used for railway operations</c:v>
                      </c:pt>
                    </c:strCache>
                  </c:strRef>
                </c:tx>
                <c:spPr>
                  <a:solidFill>
                    <a:srgbClr val="DCDCDC"/>
                  </a:solidFill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data!$C$10:$C$25</c15:sqref>
                        </c15:formulaRef>
                      </c:ext>
                    </c:extLst>
                    <c:numCache>
                      <c:formatCode>#,##0</c:formatCode>
                      <c:ptCount val="16"/>
                      <c:pt idx="0">
                        <c:v>2331.3506910000001</c:v>
                      </c:pt>
                      <c:pt idx="1">
                        <c:v>2417</c:v>
                      </c:pt>
                      <c:pt idx="2">
                        <c:v>2390.7474560000001</c:v>
                      </c:pt>
                      <c:pt idx="3">
                        <c:v>2428.0982279999998</c:v>
                      </c:pt>
                      <c:pt idx="4">
                        <c:v>2381.1</c:v>
                      </c:pt>
                      <c:pt idx="5">
                        <c:v>2409.8098610000002</c:v>
                      </c:pt>
                      <c:pt idx="6">
                        <c:v>2441.6456240000002</c:v>
                      </c:pt>
                      <c:pt idx="7">
                        <c:v>2380.7692569999999</c:v>
                      </c:pt>
                      <c:pt idx="8">
                        <c:v>2411.2330000000002</c:v>
                      </c:pt>
                      <c:pt idx="9">
                        <c:v>2457.892284</c:v>
                      </c:pt>
                      <c:pt idx="10">
                        <c:v>2389.206682</c:v>
                      </c:pt>
                      <c:pt idx="11">
                        <c:v>2339.4</c:v>
                      </c:pt>
                      <c:pt idx="12">
                        <c:v>2312.5</c:v>
                      </c:pt>
                      <c:pt idx="13">
                        <c:v>2157.4</c:v>
                      </c:pt>
                      <c:pt idx="14">
                        <c:v>2275.4760000000001</c:v>
                      </c:pt>
                      <c:pt idx="15">
                        <c:v>2312.3609999999999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4832-475B-9895-C8153D632F4B}"/>
                  </c:ext>
                </c:extLst>
              </c15:ser>
            </c15:filteredBarSeries>
            <c15:filteredBarSeries>
              <c15:ser>
                <c:idx val="3"/>
                <c:order val="3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5A5A5A"/>
                  </a:solidFill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3-4832-475B-9895-C8153D632F4B}"/>
                  </c:ext>
                </c:extLst>
              </c15:ser>
            </c15:filteredBarSeries>
            <c15:filteredBarSeries>
              <c15:ser>
                <c:idx val="4"/>
                <c:order val="4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:tx>
                <c:spPr>
                  <a:solidFill>
                    <a:srgbClr val="444444"/>
                  </a:solidFill>
                </c:spPr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$B$10:$B$26</c15:sqref>
                        </c15:formulaRef>
                      </c:ext>
                    </c:extLst>
                    <c:numCache>
                      <c:formatCode>General</c:formatCode>
                      <c:ptCount val="17"/>
                      <c:pt idx="0">
                        <c:v>2007</c:v>
                      </c:pt>
                      <c:pt idx="1">
                        <c:v>2008</c:v>
                      </c:pt>
                      <c:pt idx="2">
                        <c:v>2009</c:v>
                      </c:pt>
                      <c:pt idx="3">
                        <c:v>2010</c:v>
                      </c:pt>
                      <c:pt idx="4">
                        <c:v>2011</c:v>
                      </c:pt>
                      <c:pt idx="5">
                        <c:v>2012</c:v>
                      </c:pt>
                      <c:pt idx="6">
                        <c:v>2013</c:v>
                      </c:pt>
                      <c:pt idx="7">
                        <c:v>2014</c:v>
                      </c:pt>
                      <c:pt idx="8">
                        <c:v>2015</c:v>
                      </c:pt>
                      <c:pt idx="9">
                        <c:v>2016</c:v>
                      </c:pt>
                      <c:pt idx="10">
                        <c:v>2017</c:v>
                      </c:pt>
                      <c:pt idx="11">
                        <c:v>2018</c:v>
                      </c:pt>
                      <c:pt idx="12">
                        <c:v>2019</c:v>
                      </c:pt>
                      <c:pt idx="13">
                        <c:v>2020</c:v>
                      </c:pt>
                      <c:pt idx="14">
                        <c:v>2021</c:v>
                      </c:pt>
                      <c:pt idx="15">
                        <c:v>2022</c:v>
                      </c:pt>
                      <c:pt idx="16">
                        <c:v>2023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data!#REF!</c15:sqref>
                        </c15:formulaRef>
                      </c:ext>
                    </c:extLst>
                    <c:numCache>
                      <c:formatCode>General</c:formatCode>
                      <c:ptCount val="1"/>
                      <c:pt idx="0">
                        <c:v>1</c:v>
                      </c:pt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832-475B-9895-C8153D632F4B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5"/>
          <c:order val="5"/>
          <c:tx>
            <c:strRef>
              <c:f>data!$F$8</c:f>
              <c:strCache>
                <c:ptCount val="1"/>
                <c:pt idx="0">
                  <c:v>Proportion of traction current from renewable sources</c:v>
                </c:pt>
              </c:strCache>
            </c:strRef>
          </c:tx>
          <c:spPr>
            <a:ln>
              <a:solidFill>
                <a:srgbClr val="EB0000"/>
              </a:solidFill>
            </a:ln>
          </c:spPr>
          <c:marker>
            <c:symbol val="none"/>
          </c:marker>
          <c:cat>
            <c:numRef>
              <c:f>data!$B$10:$B$26</c:f>
              <c:numCache>
                <c:formatCode>General</c:formatCode>
                <c:ptCount val="17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  <c:pt idx="11">
                  <c:v>2018</c:v>
                </c:pt>
                <c:pt idx="12">
                  <c:v>2019</c:v>
                </c:pt>
                <c:pt idx="13">
                  <c:v>2020</c:v>
                </c:pt>
                <c:pt idx="14">
                  <c:v>2021</c:v>
                </c:pt>
                <c:pt idx="15">
                  <c:v>2022</c:v>
                </c:pt>
                <c:pt idx="16">
                  <c:v>2023</c:v>
                </c:pt>
              </c:numCache>
            </c:numRef>
          </c:cat>
          <c:val>
            <c:numRef>
              <c:f>data!$F$10:$F$26</c:f>
              <c:numCache>
                <c:formatCode>#,##0</c:formatCode>
                <c:ptCount val="17"/>
                <c:pt idx="0">
                  <c:v>72.5</c:v>
                </c:pt>
                <c:pt idx="1">
                  <c:v>74.3</c:v>
                </c:pt>
                <c:pt idx="2">
                  <c:v>76.5</c:v>
                </c:pt>
                <c:pt idx="3">
                  <c:v>81.872506960903706</c:v>
                </c:pt>
                <c:pt idx="4">
                  <c:v>73</c:v>
                </c:pt>
                <c:pt idx="5">
                  <c:v>83.5</c:v>
                </c:pt>
                <c:pt idx="6">
                  <c:v>100</c:v>
                </c:pt>
                <c:pt idx="7">
                  <c:v>97.1</c:v>
                </c:pt>
                <c:pt idx="8">
                  <c:v>99.11</c:v>
                </c:pt>
                <c:pt idx="9">
                  <c:v>91.9</c:v>
                </c:pt>
                <c:pt idx="10">
                  <c:v>91.4</c:v>
                </c:pt>
                <c:pt idx="11">
                  <c:v>99.209195584327205</c:v>
                </c:pt>
                <c:pt idx="12">
                  <c:v>95.5</c:v>
                </c:pt>
                <c:pt idx="13">
                  <c:v>91.06</c:v>
                </c:pt>
                <c:pt idx="14">
                  <c:v>90.24</c:v>
                </c:pt>
                <c:pt idx="15">
                  <c:v>90.26</c:v>
                </c:pt>
                <c:pt idx="16">
                  <c:v>9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4832-475B-9895-C8153D632F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65049088"/>
        <c:axId val="164956032"/>
      </c:lineChart>
      <c:catAx>
        <c:axId val="1372674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64954496"/>
        <c:crosses val="autoZero"/>
        <c:auto val="1"/>
        <c:lblAlgn val="ctr"/>
        <c:lblOffset val="100"/>
        <c:noMultiLvlLbl val="0"/>
      </c:catAx>
      <c:valAx>
        <c:axId val="16495449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000">
                <a:solidFill>
                  <a:srgbClr val="444444"/>
                </a:solidFill>
              </a:defRPr>
            </a:pPr>
            <a:endParaRPr lang="de-DE"/>
          </a:p>
        </c:txPr>
        <c:crossAx val="137267456"/>
        <c:crosses val="autoZero"/>
        <c:crossBetween val="between"/>
      </c:valAx>
      <c:valAx>
        <c:axId val="164956032"/>
        <c:scaling>
          <c:orientation val="minMax"/>
          <c:max val="100"/>
        </c:scaling>
        <c:delete val="0"/>
        <c:axPos val="r"/>
        <c:numFmt formatCode="0%" sourceLinked="0"/>
        <c:majorTickMark val="none"/>
        <c:minorTickMark val="none"/>
        <c:tickLblPos val="nextTo"/>
        <c:spPr>
          <a:ln>
            <a:noFill/>
          </a:ln>
        </c:spPr>
        <c:txPr>
          <a:bodyPr anchor="ctr" anchorCtr="1"/>
          <a:lstStyle/>
          <a:p>
            <a:pPr algn="just">
              <a:defRPr sz="1000"/>
            </a:pPr>
            <a:endParaRPr lang="de-DE"/>
          </a:p>
        </c:txPr>
        <c:crossAx val="165049088"/>
        <c:crosses val="max"/>
        <c:crossBetween val="between"/>
        <c:majorUnit val="25"/>
        <c:dispUnits>
          <c:builtInUnit val="hundreds"/>
          <c:dispUnitsLbl/>
        </c:dispUnits>
      </c:valAx>
      <c:catAx>
        <c:axId val="16504908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64956032"/>
        <c:crosses val="autoZero"/>
        <c:auto val="1"/>
        <c:lblAlgn val="ctr"/>
        <c:lblOffset val="100"/>
        <c:noMultiLvlLbl val="0"/>
      </c:catAx>
    </c:plotArea>
    <c:legend>
      <c:legendPos val="b"/>
      <c:layout>
        <c:manualLayout>
          <c:xMode val="edge"/>
          <c:yMode val="edge"/>
          <c:x val="2.6866770785883173E-2"/>
          <c:y val="0.91380427216359617"/>
          <c:w val="0.86431769375935441"/>
          <c:h val="6.2319984563840795E-2"/>
        </c:manualLayout>
      </c:layout>
      <c:overlay val="0"/>
      <c:txPr>
        <a:bodyPr/>
        <a:lstStyle/>
        <a:p>
          <a:pPr>
            <a:defRPr sz="10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</cdr:y>
    </cdr:from>
    <cdr:to>
      <cdr:x>0.03953</cdr:x>
      <cdr:y>0.0567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0"/>
          <a:ext cx="364450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 err="1">
              <a:solidFill>
                <a:srgbClr val="444444"/>
              </a:solidFill>
              <a:latin typeface="Arial" pitchFamily="34" charset="0"/>
              <a:cs typeface="Arial" pitchFamily="34" charset="0"/>
            </a:rPr>
            <a:t>GWh</a:t>
          </a:r>
          <a:endParaRPr lang="de-CH" sz="1050" dirty="0">
            <a:solidFill>
              <a:srgbClr val="444444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7D3BC8C-7961-4039-9EF6-F9847B8D1E3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47D3BC8C-7961-4039-9EF6-F9847B8D1E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3F927938-3630-4B34-8EB8-188D55E055D7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ailway electricity consumption and proportion of renewable energy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766035086"/>
              </p:ext>
            </p:extLst>
          </p:nvPr>
        </p:nvGraphicFramePr>
        <p:xfrm>
          <a:off x="1494169" y="1886295"/>
          <a:ext cx="9220200" cy="40985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3DB4B5C-8AF8-4D76-8E11-2708D9423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980022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8AB3786-D9DD-4308-864B-E8A3E60658EB}"/>
              </a:ext>
            </a:extLst>
          </p:cNvPr>
          <p:cNvSpPr txBox="1">
            <a:spLocks/>
          </p:cNvSpPr>
          <p:nvPr/>
        </p:nvSpPr>
        <p:spPr>
          <a:xfrm>
            <a:off x="2221689" y="5453146"/>
            <a:ext cx="4505682" cy="170649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e-DE"/>
            </a:defPPr>
            <a:lvl1pPr marL="0" algn="l" defTabSz="914400" rtl="0" eaLnBrk="1" latinLnBrk="0" hangingPunct="1">
              <a:defRPr sz="800" kern="1200" spc="1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defRPr/>
            </a:pPr>
            <a:r>
              <a:rPr lang="en-US" sz="1000" kern="0" spc="0" dirty="0">
                <a:solidFill>
                  <a:srgbClr val="444444"/>
                </a:solidFill>
              </a:rPr>
              <a:t>Rail power provided by SBB Infrastructure Energy to train services for:</a:t>
            </a:r>
          </a:p>
        </p:txBody>
      </p:sp>
    </p:spTree>
    <p:extLst>
      <p:ext uri="{BB962C8B-B14F-4D97-AF65-F5344CB8AC3E}">
        <p14:creationId xmlns:p14="http://schemas.microsoft.com/office/powerpoint/2010/main" val="2044046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ndpy9QStuzu2K.2eC49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B5D6429-5D8C-48EC-B5CA-9E5DED1D51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96e82a89-ba48-4728-b345-cf206dbec8f1"/>
    <ds:schemaRef ds:uri="http://purl.org/dc/terms/"/>
    <ds:schemaRef ds:uri="http://schemas.microsoft.com/office/infopath/2007/PartnerControls"/>
    <ds:schemaRef ds:uri="http://schemas.microsoft.com/office/2006/documentManagement/types"/>
    <ds:schemaRef ds:uri="2f5c8543-cf23-4718-a3b8-32b0a91d511a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ailway electricity consumption and proportion of renewable energy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ailway electricity consumption and proportion of renewable energy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